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drawings/drawing7.xml" ContentType="application/vnd.openxmlformats-officedocument.drawingml.chartshapes+xml"/>
  <Override PartName="/ppt/charts/chart9.xml" ContentType="application/vnd.openxmlformats-officedocument.drawingml.chart+xml"/>
  <Override PartName="/ppt/drawings/drawing8.xml" ContentType="application/vnd.openxmlformats-officedocument.drawingml.chartshapes+xml"/>
  <Override PartName="/ppt/charts/chart10.xml" ContentType="application/vnd.openxmlformats-officedocument.drawingml.chart+xml"/>
  <Override PartName="/ppt/drawings/drawing9.xml" ContentType="application/vnd.openxmlformats-officedocument.drawingml.chartshapes+xml"/>
  <Override PartName="/ppt/charts/chart11.xml" ContentType="application/vnd.openxmlformats-officedocument.drawingml.chart+xml"/>
  <Override PartName="/ppt/drawings/drawing10.xml" ContentType="application/vnd.openxmlformats-officedocument.drawingml.chartshapes+xml"/>
  <Override PartName="/ppt/charts/chart12.xml" ContentType="application/vnd.openxmlformats-officedocument.drawingml.chart+xml"/>
  <Override PartName="/ppt/drawings/drawing11.xml" ContentType="application/vnd.openxmlformats-officedocument.drawingml.chartshapes+xml"/>
  <Override PartName="/ppt/charts/chart13.xml" ContentType="application/vnd.openxmlformats-officedocument.drawingml.chart+xml"/>
  <Override PartName="/ppt/drawings/drawing12.xml" ContentType="application/vnd.openxmlformats-officedocument.drawingml.chartshapes+xml"/>
  <Override PartName="/ppt/charts/chart14.xml" ContentType="application/vnd.openxmlformats-officedocument.drawingml.chart+xml"/>
  <Override PartName="/ppt/drawings/drawing13.xml" ContentType="application/vnd.openxmlformats-officedocument.drawingml.chartshapes+xml"/>
  <Override PartName="/ppt/charts/chart15.xml" ContentType="application/vnd.openxmlformats-officedocument.drawingml.chart+xml"/>
  <Override PartName="/ppt/drawings/drawing14.xml" ContentType="application/vnd.openxmlformats-officedocument.drawingml.chartshape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260" r:id="rId3"/>
    <p:sldId id="261" r:id="rId4"/>
    <p:sldId id="263" r:id="rId5"/>
    <p:sldId id="264" r:id="rId6"/>
    <p:sldId id="266" r:id="rId7"/>
    <p:sldId id="267" r:id="rId8"/>
    <p:sldId id="268" r:id="rId9"/>
    <p:sldId id="269" r:id="rId10"/>
    <p:sldId id="270" r:id="rId11"/>
    <p:sldId id="271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80"/>
    <p:restoredTop sz="94694"/>
  </p:normalViewPr>
  <p:slideViewPr>
    <p:cSldViewPr snapToGrid="0" snapToObjects="1">
      <p:cViewPr varScale="1">
        <p:scale>
          <a:sx n="58" d="100"/>
          <a:sy n="58" d="100"/>
        </p:scale>
        <p:origin x="216" y="155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6482719068129967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A28-1A45-A49C-EAB0CCB9A67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3A28-1A45-A49C-EAB0CCB9A67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3A28-1A45-A49C-EAB0CCB9A677}"/>
              </c:ext>
            </c:extLst>
          </c:dPt>
          <c:dLbls>
            <c:dLbl>
              <c:idx val="0"/>
              <c:layout>
                <c:manualLayout>
                  <c:x val="-0.208232490675508"/>
                  <c:y val="-0.157620689845444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mbria"/>
                        <a:cs typeface="Cambria"/>
                      </a:rPr>
                      <a:t>70.2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A28-1A45-A49C-EAB0CCB9A677}"/>
                </c:ext>
              </c:extLst>
            </c:dLbl>
            <c:dLbl>
              <c:idx val="1"/>
              <c:layout>
                <c:manualLayout>
                  <c:x val="0.12418381912787201"/>
                  <c:y val="1.1497056210651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28-1A45-A49C-EAB0CCB9A677}"/>
                </c:ext>
              </c:extLst>
            </c:dLbl>
            <c:dLbl>
              <c:idx val="2"/>
              <c:layout>
                <c:manualLayout>
                  <c:x val="0.125157998342312"/>
                  <c:y val="0.12617167017362799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mbria"/>
                        <a:cs typeface="Cambria"/>
                      </a:rPr>
                      <a:t>18.7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A28-1A45-A49C-EAB0CCB9A67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.2</c:v>
                </c:pt>
                <c:pt idx="1">
                  <c:v>11.1</c:v>
                </c:pt>
                <c:pt idx="2">
                  <c:v>1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28-1A45-A49C-EAB0CCB9A6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255445043053796"/>
          <c:y val="0.38023456436970199"/>
          <c:w val="0.32287332504489602"/>
          <c:h val="0.351505497759243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4382833724731776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EC1-7746-8C21-27A1DF3CE08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EC1-7746-8C21-27A1DF3CE08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4EC1-7746-8C21-27A1DF3CE087}"/>
              </c:ext>
            </c:extLst>
          </c:dPt>
          <c:dLbls>
            <c:dLbl>
              <c:idx val="0"/>
              <c:layout>
                <c:manualLayout>
                  <c:x val="-0.158163880830686"/>
                  <c:y val="0.13611574306540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EC1-7746-8C21-27A1DF3CE087}"/>
                </c:ext>
              </c:extLst>
            </c:dLbl>
            <c:dLbl>
              <c:idx val="1"/>
              <c:layout>
                <c:manualLayout>
                  <c:x val="0.228881751623152"/>
                  <c:y val="-0.1733989593277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EC1-7746-8C21-27A1DF3CE087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EC1-7746-8C21-27A1DF3CE08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ystander</c:v>
                </c:pt>
                <c:pt idx="1">
                  <c:v>First Responde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.6</c:v>
                </c:pt>
                <c:pt idx="1">
                  <c:v>78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C1-7746-8C21-27A1DF3CE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526292766035798"/>
          <c:y val="0.40088330234123698"/>
          <c:w val="0.32241246966770698"/>
          <c:h val="0.235193538660775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594-6940-9168-F69B4B33CC6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1594-6940-9168-F69B4B33CC64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1594-6940-9168-F69B4B33CC64}"/>
              </c:ext>
            </c:extLst>
          </c:dPt>
          <c:dLbls>
            <c:dLbl>
              <c:idx val="0"/>
              <c:layout>
                <c:manualLayout>
                  <c:x val="-0.15231592761431101"/>
                  <c:y val="0.1417219098488650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5.6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594-6940-9168-F69B4B33CC64}"/>
                </c:ext>
              </c:extLst>
            </c:dLbl>
            <c:dLbl>
              <c:idx val="1"/>
              <c:layout>
                <c:manualLayout>
                  <c:x val="0.20548993875765501"/>
                  <c:y val="-0.176202042719431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4.4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94-6940-9168-F69B4B33CC64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594-6940-9168-F69B4B33CC6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ystander</c:v>
                </c:pt>
                <c:pt idx="1">
                  <c:v>First Responde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.9</c:v>
                </c:pt>
                <c:pt idx="1">
                  <c:v>79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94-6940-9168-F69B4B33CC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197932495280198"/>
          <c:y val="0.40088330234123698"/>
          <c:w val="0.26470529999539499"/>
          <c:h val="0.25761815162032597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4382833724731776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CFE-104D-B2B8-E44F0EB750B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CFE-104D-B2B8-E44F0EB750B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CFE-104D-B2B8-E44F0EB750B5}"/>
              </c:ext>
            </c:extLst>
          </c:dPt>
          <c:dLbls>
            <c:dLbl>
              <c:idx val="0"/>
              <c:layout>
                <c:manualLayout>
                  <c:x val="-0.18155569369618299"/>
                  <c:y val="0.11369085521632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FE-104D-B2B8-E44F0EB750B5}"/>
                </c:ext>
              </c:extLst>
            </c:dLbl>
            <c:dLbl>
              <c:idx val="1"/>
              <c:layout>
                <c:manualLayout>
                  <c:x val="0.208413915365842"/>
                  <c:y val="-0.13976195862693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FE-104D-B2B8-E44F0EB750B5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FE-104D-B2B8-E44F0EB750B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.1</c:v>
                </c:pt>
                <c:pt idx="1">
                  <c:v>68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FE-104D-B2B8-E44F0EB750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7952318460192496"/>
          <c:y val="0.44853572000066211"/>
          <c:w val="0.19452986139890399"/>
          <c:h val="0.18754106682705307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6FA6-1B4C-B75E-45E83248907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6FA6-1B4C-B75E-45E83248907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6FA6-1B4C-B75E-45E832489076}"/>
              </c:ext>
            </c:extLst>
          </c:dPt>
          <c:dLbls>
            <c:dLbl>
              <c:idx val="0"/>
              <c:layout>
                <c:manualLayout>
                  <c:x val="-0.191737204724409"/>
                  <c:y val="0.1277062721749830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8.5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FA6-1B4C-B75E-45E832489076}"/>
                </c:ext>
              </c:extLst>
            </c:dLbl>
            <c:dLbl>
              <c:idx val="1"/>
              <c:layout>
                <c:manualLayout>
                  <c:x val="0.20058188038995101"/>
                  <c:y val="-0.120140374884813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1.5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A6-1B4C-B75E-45E832489076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FA6-1B4C-B75E-45E83248907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.8</c:v>
                </c:pt>
                <c:pt idx="1">
                  <c:v>6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A6-1B4C-B75E-45E8324890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7461520434945599"/>
          <c:y val="0.45974805356758575"/>
          <c:w val="0.196514107611549"/>
          <c:h val="0.17632873326012946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7014412672100196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BF10-6049-8649-F06C4B5F183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BF10-6049-8649-F06C4B5F1832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BF10-6049-8649-F06C4B5F1832}"/>
              </c:ext>
            </c:extLst>
          </c:dPt>
          <c:dLbls>
            <c:dLbl>
              <c:idx val="0"/>
              <c:layout>
                <c:manualLayout>
                  <c:x val="-1.0210664456416631E-2"/>
                  <c:y val="1.026899668375367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10-6049-8649-F06C4B5F1832}"/>
                </c:ext>
              </c:extLst>
            </c:dLbl>
            <c:dLbl>
              <c:idx val="1"/>
              <c:layout>
                <c:manualLayout>
                  <c:x val="6.2799972371874596E-2"/>
                  <c:y val="-0.221983975166946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10-6049-8649-F06C4B5F1832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10-6049-8649-F06C4B5F183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2</c:v>
                </c:pt>
                <c:pt idx="1">
                  <c:v>9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10-6049-8649-F06C4B5F1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7952318460192496"/>
          <c:y val="0.42050488608335312"/>
          <c:w val="0.15944214210065799"/>
          <c:h val="0.2015564837857075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EC5-4748-A4C3-42FC416F8AE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9EC5-4748-A4C3-42FC416F8AE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9EC5-4748-A4C3-42FC416F8AE8}"/>
              </c:ext>
            </c:extLst>
          </c:dPt>
          <c:dLbls>
            <c:dLbl>
              <c:idx val="0"/>
              <c:layout>
                <c:manualLayout>
                  <c:x val="-7.2866878482294442E-3"/>
                  <c:y val="7.4659132920227743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.9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EC5-4748-A4C3-42FC416F8AE8}"/>
                </c:ext>
              </c:extLst>
            </c:dLbl>
            <c:dLbl>
              <c:idx val="1"/>
              <c:layout>
                <c:manualLayout>
                  <c:x val="6.2799972371874596E-2"/>
                  <c:y val="-0.2219839751669460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9.1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C5-4748-A4C3-42FC416F8AE8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EC5-4748-A4C3-42FC416F8AE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94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C5-4748-A4C3-42FC416F8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197932495280198"/>
          <c:y val="0.42330796947508398"/>
          <c:w val="0.18283395496615601"/>
          <c:h val="0.19875340039397668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2.71646830031220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1B8-6A4E-A316-C3D1FED661A7}"/>
                </c:ext>
              </c:extLst>
            </c:dLbl>
            <c:dLbl>
              <c:idx val="1"/>
              <c:layout>
                <c:manualLayout>
                  <c:x val="0"/>
                  <c:y val="1.0865873201248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1B8-6A4E-A316-C3D1FED661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 to Moderate 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26700000000000002</c:v>
                </c:pt>
                <c:pt idx="1">
                  <c:v>8.4000000000000005E-2</c:v>
                </c:pt>
                <c:pt idx="2">
                  <c:v>6.9000000000000006E-2</c:v>
                </c:pt>
                <c:pt idx="3" formatCode="0.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B8-6A4E-A316-C3D1FED661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1.6682465451055891E-2"/>
                  <c:y val="1.76569370044583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410491586998042E-2"/>
                      <c:h val="6.18268185151056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1B8-6A4E-A316-C3D1FED661A7}"/>
                </c:ext>
              </c:extLst>
            </c:dLbl>
            <c:dLbl>
              <c:idx val="1"/>
              <c:layout>
                <c:manualLayout>
                  <c:x val="1.81990532193337E-2"/>
                  <c:y val="8.14919100579484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1B8-6A4E-A316-C3D1FED661A7}"/>
                </c:ext>
              </c:extLst>
            </c:dLbl>
            <c:dLbl>
              <c:idx val="2"/>
              <c:layout>
                <c:manualLayout>
                  <c:x val="1.0616114377944547E-2"/>
                  <c:y val="1.62988098018732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B8-6A4E-A316-C3D1FED661A7}"/>
                </c:ext>
              </c:extLst>
            </c:dLbl>
            <c:dLbl>
              <c:idx val="3"/>
              <c:layout>
                <c:manualLayout>
                  <c:x val="1.36492899145003E-2"/>
                  <c:y val="-9.960268705937369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1B8-6A4E-A316-C3D1FED661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 to Moderate 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28199999999999997</c:v>
                </c:pt>
                <c:pt idx="1">
                  <c:v>0.104</c:v>
                </c:pt>
                <c:pt idx="2">
                  <c:v>8.2000000000000003E-2</c:v>
                </c:pt>
                <c:pt idx="3" formatCode="0.0%">
                  <c:v>1.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1B8-6A4E-A316-C3D1FED66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3792624"/>
        <c:axId val="263793008"/>
      </c:barChart>
      <c:catAx>
        <c:axId val="263792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63793008"/>
        <c:crosses val="autoZero"/>
        <c:auto val="1"/>
        <c:lblAlgn val="ctr"/>
        <c:lblOffset val="100"/>
        <c:noMultiLvlLbl val="0"/>
      </c:catAx>
      <c:valAx>
        <c:axId val="263793008"/>
        <c:scaling>
          <c:orientation val="minMax"/>
          <c:max val="0.4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26379262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1"/>
              <c:layout>
                <c:manualLayout>
                  <c:x val="0"/>
                  <c:y val="9.09090909090908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F8-CB4E-A769-F5F15D3821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9899999999999999</c:v>
                </c:pt>
                <c:pt idx="1">
                  <c:v>0.35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F8-CB4E-A769-F5F15D3821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1.21212121212121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4F8-CB4E-A769-F5F15D382151}"/>
                </c:ext>
              </c:extLst>
            </c:dLbl>
            <c:dLbl>
              <c:idx val="1"/>
              <c:layout>
                <c:manualLayout>
                  <c:x val="-1.5432098765432098E-3"/>
                  <c:y val="1.21212121212121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4F8-CB4E-A769-F5F15D3821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0.33300000000000002</c:v>
                </c:pt>
                <c:pt idx="1">
                  <c:v>0.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F8-CB4E-A769-F5F15D382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4534920"/>
        <c:axId val="334530216"/>
      </c:barChart>
      <c:catAx>
        <c:axId val="334534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34530216"/>
        <c:crosses val="autoZero"/>
        <c:auto val="1"/>
        <c:lblAlgn val="ctr"/>
        <c:lblOffset val="100"/>
        <c:noMultiLvlLbl val="0"/>
      </c:catAx>
      <c:valAx>
        <c:axId val="33453021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33453492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810339375839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ECF-FD4E-9E17-E80507427F4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ECF-FD4E-9E17-E80507427F4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5ECF-FD4E-9E17-E80507427F4D}"/>
              </c:ext>
            </c:extLst>
          </c:dPt>
          <c:dLbls>
            <c:dLbl>
              <c:idx val="0"/>
              <c:layout>
                <c:manualLayout>
                  <c:x val="-0.208232490675508"/>
                  <c:y val="-0.157620689845444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mbria"/>
                        <a:cs typeface="Cambria"/>
                      </a:rPr>
                      <a:t>70.2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ECF-FD4E-9E17-E80507427F4D}"/>
                </c:ext>
              </c:extLst>
            </c:dLbl>
            <c:dLbl>
              <c:idx val="1"/>
              <c:layout>
                <c:manualLayout>
                  <c:x val="0.1376097458278093"/>
                  <c:y val="-4.4622547731830772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ECF-FD4E-9E17-E80507427F4D}"/>
                </c:ext>
              </c:extLst>
            </c:dLbl>
            <c:dLbl>
              <c:idx val="2"/>
              <c:layout>
                <c:manualLayout>
                  <c:x val="0.125157998342312"/>
                  <c:y val="0.12617167017362799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mbria"/>
                        <a:cs typeface="Cambria"/>
                      </a:rPr>
                      <a:t>15.5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ECF-FD4E-9E17-E80507427F4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.2</c:v>
                </c:pt>
                <c:pt idx="1">
                  <c:v>14.3</c:v>
                </c:pt>
                <c:pt idx="2">
                  <c:v>1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ECF-FD4E-9E17-E80507427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255445043053796"/>
          <c:y val="0.38023456436970199"/>
          <c:w val="0.32287332504489602"/>
          <c:h val="0.351505497759243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6621358805559142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6D72-6B46-A6AB-A8AFAAFA9FF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6D72-6B46-A6AB-A8AFAAFA9FF4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6D72-6B46-A6AB-A8AFAAFA9FF4}"/>
              </c:ext>
            </c:extLst>
          </c:dPt>
          <c:dLbls>
            <c:dLbl>
              <c:idx val="0"/>
              <c:layout>
                <c:manualLayout>
                  <c:x val="-0.18845811281786501"/>
                  <c:y val="5.59382880223363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D72-6B46-A6AB-A8AFAAFA9FF4}"/>
                </c:ext>
              </c:extLst>
            </c:dLbl>
            <c:dLbl>
              <c:idx val="1"/>
              <c:layout>
                <c:manualLayout>
                  <c:x val="-0.10605245041091201"/>
                  <c:y val="-0.125515894255333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D72-6B46-A6AB-A8AFAAFA9FF4}"/>
                </c:ext>
              </c:extLst>
            </c:dLbl>
            <c:dLbl>
              <c:idx val="2"/>
              <c:layout>
                <c:manualLayout>
                  <c:x val="0.17903317413192199"/>
                  <c:y val="-3.5879467414155599E-3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50.1 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D72-6B46-A6AB-A8AFAAFA9FF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Witnessed by 911 Responder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7.299999999999997</c:v>
                </c:pt>
                <c:pt idx="1">
                  <c:v>12.5</c:v>
                </c:pt>
                <c:pt idx="2">
                  <c:v>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72-6B46-A6AB-A8AFAAFA9F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2689160565455604"/>
          <c:y val="0.40088330234123698"/>
          <c:w val="0.36762938613255902"/>
          <c:h val="0.340014456847413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D52-EF4E-9B8F-D4BB4464F2D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D52-EF4E-9B8F-D4BB4464F2D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D52-EF4E-9B8F-D4BB4464F2DC}"/>
              </c:ext>
            </c:extLst>
          </c:dPt>
          <c:dLbls>
            <c:dLbl>
              <c:idx val="0"/>
              <c:layout>
                <c:manualLayout>
                  <c:x val="-0.20211931500365701"/>
                  <c:y val="6.99537049809909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7.7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D52-EF4E-9B8F-D4BB4464F2DC}"/>
                </c:ext>
              </c:extLst>
            </c:dLbl>
            <c:dLbl>
              <c:idx val="1"/>
              <c:layout>
                <c:manualLayout>
                  <c:x val="-0.103320209973753"/>
                  <c:y val="-0.125515894255333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.1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52-EF4E-9B8F-D4BB4464F2DC}"/>
                </c:ext>
              </c:extLst>
            </c:dLbl>
            <c:dLbl>
              <c:idx val="2"/>
              <c:layout>
                <c:manualLayout>
                  <c:x val="0.198158857192031"/>
                  <c:y val="-5.124036440084089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1.2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D52-EF4E-9B8F-D4BB4464F2D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Witnessed by 911 Responder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6.6</c:v>
                </c:pt>
                <c:pt idx="1">
                  <c:v>12.3</c:v>
                </c:pt>
                <c:pt idx="2">
                  <c:v>5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52-EF4E-9B8F-D4BB4464F2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197280667785405"/>
          <c:y val="0.40088330234123698"/>
          <c:w val="0.36762938613255902"/>
          <c:h val="0.340014456847413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6137219689644059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B6F-F946-B953-22E6D4D36A5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EB6F-F946-B953-22E6D4D36A5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EB6F-F946-B953-22E6D4D36A50}"/>
              </c:ext>
            </c:extLst>
          </c:dPt>
          <c:dLbls>
            <c:dLbl>
              <c:idx val="0"/>
              <c:layout>
                <c:manualLayout>
                  <c:x val="-0.22950891007045199"/>
                  <c:y val="5.769098764546520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6F-F946-B953-22E6D4D36A50}"/>
                </c:ext>
              </c:extLst>
            </c:dLbl>
            <c:dLbl>
              <c:idx val="1"/>
              <c:layout>
                <c:manualLayout>
                  <c:x val="0.10432034811438"/>
                  <c:y val="-0.154187685193870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6F-F946-B953-22E6D4D36A50}"/>
                </c:ext>
              </c:extLst>
            </c:dLbl>
            <c:dLbl>
              <c:idx val="2"/>
              <c:layout>
                <c:manualLayout>
                  <c:x val="0.17313740387714699"/>
                  <c:y val="9.9362684780029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B6F-F946-B953-22E6D4D36A5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29</c:v>
                </c:pt>
                <c:pt idx="2">
                  <c:v>3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6F-F946-B953-22E6D4D36A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237072339641698"/>
          <c:y val="0.40088330234123698"/>
          <c:w val="0.31499769765621399"/>
          <c:h val="0.340014456847413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DA4-BA45-940F-360278F666CF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FDA4-BA45-940F-360278F666CF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FDA4-BA45-940F-360278F666CF}"/>
              </c:ext>
            </c:extLst>
          </c:dPt>
          <c:dLbls>
            <c:dLbl>
              <c:idx val="0"/>
              <c:layout>
                <c:manualLayout>
                  <c:x val="-0.22950891007045199"/>
                  <c:y val="5.769098764546520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1.0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DA4-BA45-940F-360278F666CF}"/>
                </c:ext>
              </c:extLst>
            </c:dLbl>
            <c:dLbl>
              <c:idx val="1"/>
              <c:layout>
                <c:manualLayout>
                  <c:x val="8.6776488465257595E-2"/>
                  <c:y val="-0.154187685193870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6.4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A4-BA45-940F-360278F666CF}"/>
                </c:ext>
              </c:extLst>
            </c:dLbl>
            <c:dLbl>
              <c:idx val="2"/>
              <c:layout>
                <c:manualLayout>
                  <c:x val="0.15559354422802399"/>
                  <c:y val="9.9362684780029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2.5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DA4-BA45-940F-360278F666C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.4</c:v>
                </c:pt>
                <c:pt idx="1">
                  <c:v>29.3</c:v>
                </c:pt>
                <c:pt idx="2">
                  <c:v>3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DA4-BA45-940F-360278F666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237072339641698"/>
          <c:y val="0.40088330234123698"/>
          <c:w val="0.29745383800709102"/>
          <c:h val="0.340014456847413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-1.5360983102918728E-3"/>
                  <c:y val="-1.05820105820105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E0-C842-8FB3-0D6650C2B2F1}"/>
                </c:ext>
              </c:extLst>
            </c:dLbl>
            <c:dLbl>
              <c:idx val="1"/>
              <c:layout>
                <c:manualLayout>
                  <c:x val="-1.5360983102918587E-3"/>
                  <c:y val="5.29100529100529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E0-C842-8FB3-0D6650C2B2F1}"/>
                </c:ext>
              </c:extLst>
            </c:dLbl>
            <c:dLbl>
              <c:idx val="2"/>
              <c:layout>
                <c:manualLayout>
                  <c:x val="-6.1443932411674911E-3"/>
                  <c:y val="6.613860767404074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E7E0-C842-8FB3-0D6650C2B2F1}"/>
                </c:ext>
              </c:extLst>
            </c:dLbl>
            <c:dLbl>
              <c:idx val="3"/>
              <c:layout>
                <c:manualLayout>
                  <c:x val="-1.5360983102918587E-3"/>
                  <c:y val="5.29100529100529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E0-C842-8FB3-0D6650C2B2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Unknown Shockable</c:v>
                </c:pt>
                <c:pt idx="1">
                  <c:v>Asystole</c:v>
                </c:pt>
                <c:pt idx="2">
                  <c:v>Idioventricular/PEA</c:v>
                </c:pt>
                <c:pt idx="3">
                  <c:v>Unknown 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7599999999999999</c:v>
                </c:pt>
                <c:pt idx="1">
                  <c:v>0.47699999999999998</c:v>
                </c:pt>
                <c:pt idx="2">
                  <c:v>0.17299999999999999</c:v>
                </c:pt>
                <c:pt idx="3">
                  <c:v>0.17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E0-C842-8FB3-0D6650C2B2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1.6897081413210446E-2"/>
                  <c:y val="-7.936507936507936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E0-C842-8FB3-0D6650C2B2F1}"/>
                </c:ext>
              </c:extLst>
            </c:dLbl>
            <c:dLbl>
              <c:idx val="1"/>
              <c:layout>
                <c:manualLayout>
                  <c:x val="1.536098310291858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7E0-C842-8FB3-0D6650C2B2F1}"/>
                </c:ext>
              </c:extLst>
            </c:dLbl>
            <c:dLbl>
              <c:idx val="2"/>
              <c:layout>
                <c:manualLayout>
                  <c:x val="1.8433179723502193E-2"/>
                  <c:y val="1.32275132275132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7E0-C842-8FB3-0D6650C2B2F1}"/>
                </c:ext>
              </c:extLst>
            </c:dLbl>
            <c:dLbl>
              <c:idx val="3"/>
              <c:layout>
                <c:manualLayout>
                  <c:x val="4.608294930875576E-3"/>
                  <c:y val="5.29100529100529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7E0-C842-8FB3-0D6650C2B2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Unknown Shockable</c:v>
                </c:pt>
                <c:pt idx="1">
                  <c:v>Asystole</c:v>
                </c:pt>
                <c:pt idx="2">
                  <c:v>Idioventricular/PEA</c:v>
                </c:pt>
                <c:pt idx="3">
                  <c:v>Unknown Unshockable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184</c:v>
                </c:pt>
                <c:pt idx="1">
                  <c:v>0.503</c:v>
                </c:pt>
                <c:pt idx="2">
                  <c:v>0.218</c:v>
                </c:pt>
                <c:pt idx="3">
                  <c:v>9.5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7E0-C842-8FB3-0D6650C2B2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1578568"/>
        <c:axId val="334528256"/>
      </c:barChart>
      <c:catAx>
        <c:axId val="331578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34528256"/>
        <c:crosses val="autoZero"/>
        <c:auto val="1"/>
        <c:lblAlgn val="ctr"/>
        <c:lblOffset val="100"/>
        <c:noMultiLvlLbl val="0"/>
      </c:catAx>
      <c:valAx>
        <c:axId val="33452825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3315785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ational</a:t>
            </a:r>
          </a:p>
        </c:rich>
      </c:tx>
      <c:layout>
        <c:manualLayout>
          <c:xMode val="edge"/>
          <c:yMode val="edge"/>
          <c:x val="0.2642961735046277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BF7-8F44-B0A4-4E626A1A118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EBF7-8F44-B0A4-4E626A1A118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EBF7-8F44-B0A4-4E626A1A1180}"/>
              </c:ext>
            </c:extLst>
          </c:dPt>
          <c:dLbls>
            <c:dLbl>
              <c:idx val="0"/>
              <c:layout>
                <c:manualLayout>
                  <c:x val="-0.18272528433945801"/>
                  <c:y val="0.11941510464660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F7-8F44-B0A4-4E626A1A1180}"/>
                </c:ext>
              </c:extLst>
            </c:dLbl>
            <c:dLbl>
              <c:idx val="1"/>
              <c:layout>
                <c:manualLayout>
                  <c:x val="0.20841368513146399"/>
                  <c:y val="-0.154187685193870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F7-8F44-B0A4-4E626A1A1180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BF7-8F44-B0A4-4E626A1A118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9.4</c:v>
                </c:pt>
                <c:pt idx="1">
                  <c:v>70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F7-8F44-B0A4-4E626A1A1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999910208592347"/>
          <c:y val="0.45414188678412393"/>
          <c:w val="0.18692761431136901"/>
          <c:h val="0.21387570421952337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MI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B65-CB4B-9149-1CB38DCA8E3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CB65-CB4B-9149-1CB38DCA8E3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CB65-CB4B-9149-1CB38DCA8E3E}"/>
              </c:ext>
            </c:extLst>
          </c:dPt>
          <c:dLbls>
            <c:dLbl>
              <c:idx val="0"/>
              <c:layout>
                <c:manualLayout>
                  <c:x val="-0.18272528433945801"/>
                  <c:y val="0.11941510464660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65-CB4B-9149-1CB38DCA8E3E}"/>
                </c:ext>
              </c:extLst>
            </c:dLbl>
            <c:dLbl>
              <c:idx val="1"/>
              <c:layout>
                <c:manualLayout>
                  <c:x val="0.19086982548234099"/>
                  <c:y val="-0.154187685193870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65-CB4B-9149-1CB38DCA8E3E}"/>
                </c:ext>
              </c:extLst>
            </c:dLbl>
            <c:dLbl>
              <c:idx val="2"/>
              <c:layout>
                <c:manualLayout>
                  <c:x val="0.13804959248515"/>
                  <c:y val="9.65596532071908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65-CB4B-9149-1CB38DCA8E3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.700000000000003</c:v>
                </c:pt>
                <c:pt idx="1">
                  <c:v>6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65-CB4B-9149-1CB38DCA8E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6490330156098909"/>
          <c:y val="0.45414188678412393"/>
          <c:w val="0.18692761431136901"/>
          <c:h val="0.19705720386913794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07</cdr:x>
      <cdr:y>0.87456</cdr:y>
    </cdr:from>
    <cdr:to>
      <cdr:x>0.60381</cdr:x>
      <cdr:y>0.935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19200" y="3962400"/>
          <a:ext cx="1403410" cy="27781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chemeClr val="tx1">
                  <a:lumMod val="75000"/>
                </a:schemeClr>
              </a:solidFill>
              <a:latin typeface="Cambria"/>
              <a:cs typeface="Cambria"/>
            </a:rPr>
            <a:t>N=81,864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30189</cdr:x>
      <cdr:y>0.93886</cdr:y>
    </cdr:from>
    <cdr:to>
      <cdr:x>0.48216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19200" y="4253726"/>
          <a:ext cx="72803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7,451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30189</cdr:x>
      <cdr:y>0.93886</cdr:y>
    </cdr:from>
    <cdr:to>
      <cdr:x>0.5789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11229" y="4267219"/>
          <a:ext cx="120337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81,864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30189</cdr:x>
      <cdr:y>0.93886</cdr:y>
    </cdr:from>
    <cdr:to>
      <cdr:x>0.48216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19200" y="4253726"/>
          <a:ext cx="72803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7,451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30526</cdr:x>
      <cdr:y>0.93409</cdr:y>
    </cdr:from>
    <cdr:to>
      <cdr:x>0.57895</cdr:x>
      <cdr:y>0.995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25866" y="4232105"/>
          <a:ext cx="1188734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81,864</a:t>
          </a: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30526</cdr:x>
      <cdr:y>0.93409</cdr:y>
    </cdr:from>
    <cdr:to>
      <cdr:x>0.56604</cdr:x>
      <cdr:y>0.995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32822" y="4232105"/>
          <a:ext cx="1053177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7,451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6316</cdr:x>
      <cdr:y>0.87456</cdr:y>
    </cdr:from>
    <cdr:to>
      <cdr:x>0.58627</cdr:x>
      <cdr:y>0.935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43000" y="3962400"/>
          <a:ext cx="1403410" cy="27781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chemeClr val="tx1">
                  <a:lumMod val="75000"/>
                </a:schemeClr>
              </a:solidFill>
              <a:latin typeface="Cambria"/>
              <a:cs typeface="Cambria"/>
            </a:rPr>
            <a:t>N= 7,451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0526</cdr:x>
      <cdr:y>0.93409</cdr:y>
    </cdr:from>
    <cdr:to>
      <cdr:x>0.48553</cdr:x>
      <cdr:y>0.995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18910" y="4232105"/>
          <a:ext cx="83793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chemeClr val="tx1">
                  <a:lumMod val="75000"/>
                </a:schemeClr>
              </a:solidFill>
              <a:latin typeface="Cambria"/>
              <a:cs typeface="Cambria"/>
            </a:rPr>
            <a:t>N=81,863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0526</cdr:x>
      <cdr:y>0.93409</cdr:y>
    </cdr:from>
    <cdr:to>
      <cdr:x>0.48553</cdr:x>
      <cdr:y>0.995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32823" y="4232105"/>
          <a:ext cx="72803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chemeClr val="tx1">
                  <a:lumMod val="75000"/>
                </a:schemeClr>
              </a:solidFill>
              <a:latin typeface="Cambria"/>
              <a:cs typeface="Cambria"/>
            </a:rPr>
            <a:t>N=7,451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825</cdr:x>
      <cdr:y>0.89138</cdr:y>
    </cdr:from>
    <cdr:to>
      <cdr:x>0.5614</cdr:x>
      <cdr:y>0.952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95400" y="4038600"/>
          <a:ext cx="1143000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81,864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30526</cdr:x>
      <cdr:y>0.8981</cdr:y>
    </cdr:from>
    <cdr:to>
      <cdr:x>0.48553</cdr:x>
      <cdr:y>0.959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32823" y="4069060"/>
          <a:ext cx="72803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7,451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9825</cdr:x>
      <cdr:y>0.93886</cdr:y>
    </cdr:from>
    <cdr:to>
      <cdr:x>0.5368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95419" y="4253716"/>
          <a:ext cx="1036335" cy="27700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 81,863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30526</cdr:x>
      <cdr:y>0.93409</cdr:y>
    </cdr:from>
    <cdr:to>
      <cdr:x>0.48553</cdr:x>
      <cdr:y>0.995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32823" y="4232105"/>
          <a:ext cx="72803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2,583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9825</cdr:x>
      <cdr:y>0.93945</cdr:y>
    </cdr:from>
    <cdr:to>
      <cdr:x>0.57193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95400" y="4256385"/>
          <a:ext cx="1188734" cy="27434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>
            <a:defRPr/>
          </a:pPr>
          <a:r>
            <a:rPr lang="en-US" sz="1200" i="1" dirty="0">
              <a:solidFill>
                <a:srgbClr val="000000"/>
              </a:solidFill>
              <a:latin typeface="Cambria"/>
              <a:cs typeface="Cambria"/>
            </a:rPr>
            <a:t>N=24,092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16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16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18 Annual Report Summary: Michigan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84603720"/>
              </p:ext>
            </p:extLst>
          </p:nvPr>
        </p:nvGraphicFramePr>
        <p:xfrm>
          <a:off x="533400" y="1447800"/>
          <a:ext cx="8374062" cy="4675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919917436"/>
              </p:ext>
            </p:extLst>
          </p:nvPr>
        </p:nvGraphicFramePr>
        <p:xfrm>
          <a:off x="457200" y="1378830"/>
          <a:ext cx="82296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26493" y="5525874"/>
            <a:ext cx="89916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by bystander and/or AED applied by bystander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55520968"/>
              </p:ext>
            </p:extLst>
          </p:nvPr>
        </p:nvGraphicFramePr>
        <p:xfrm>
          <a:off x="-132347" y="1427580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051396516"/>
              </p:ext>
            </p:extLst>
          </p:nvPr>
        </p:nvGraphicFramePr>
        <p:xfrm>
          <a:off x="4223084" y="1417638"/>
          <a:ext cx="4920916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ed Statu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22421679"/>
              </p:ext>
            </p:extLst>
          </p:nvPr>
        </p:nvGraphicFramePr>
        <p:xfrm>
          <a:off x="152400" y="1371600"/>
          <a:ext cx="46482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931707924"/>
              </p:ext>
            </p:extLst>
          </p:nvPr>
        </p:nvGraphicFramePr>
        <p:xfrm>
          <a:off x="4343400" y="1371600"/>
          <a:ext cx="46482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?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1366760"/>
              </p:ext>
            </p:extLst>
          </p:nvPr>
        </p:nvGraphicFramePr>
        <p:xfrm>
          <a:off x="1524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68378038"/>
              </p:ext>
            </p:extLst>
          </p:nvPr>
        </p:nvGraphicFramePr>
        <p:xfrm>
          <a:off x="46482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39221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496755430"/>
              </p:ext>
            </p:extLst>
          </p:nvPr>
        </p:nvGraphicFramePr>
        <p:xfrm>
          <a:off x="533400" y="1371600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48728"/>
            <a:ext cx="8229600" cy="990600"/>
          </a:xfrm>
        </p:spPr>
        <p:txBody>
          <a:bodyPr>
            <a:noAutofit/>
          </a:bodyPr>
          <a:lstStyle/>
          <a:p>
            <a:r>
              <a:rPr lang="en-US" sz="3400" dirty="0"/>
              <a:t>Was an AED Applied</a:t>
            </a:r>
            <a:br>
              <a:rPr lang="en-US" sz="3400" dirty="0"/>
            </a:br>
            <a:r>
              <a:rPr lang="en-US" sz="3400" dirty="0"/>
              <a:t> (prior to EMS arrival)?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08841565"/>
              </p:ext>
            </p:extLst>
          </p:nvPr>
        </p:nvGraphicFramePr>
        <p:xfrm>
          <a:off x="1524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541263425"/>
              </p:ext>
            </p:extLst>
          </p:nvPr>
        </p:nvGraphicFramePr>
        <p:xfrm>
          <a:off x="46482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36613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First Applied AED?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8829089"/>
              </p:ext>
            </p:extLst>
          </p:nvPr>
        </p:nvGraphicFramePr>
        <p:xfrm>
          <a:off x="1524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980290040"/>
              </p:ext>
            </p:extLst>
          </p:nvPr>
        </p:nvGraphicFramePr>
        <p:xfrm>
          <a:off x="46482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15333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73568606"/>
              </p:ext>
            </p:extLst>
          </p:nvPr>
        </p:nvGraphicFramePr>
        <p:xfrm>
          <a:off x="1524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63500214"/>
              </p:ext>
            </p:extLst>
          </p:nvPr>
        </p:nvGraphicFramePr>
        <p:xfrm>
          <a:off x="4724400" y="1371600"/>
          <a:ext cx="42672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eld Hypothermia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997406855"/>
              </p:ext>
            </p:extLst>
          </p:nvPr>
        </p:nvGraphicFramePr>
        <p:xfrm>
          <a:off x="152400" y="1371600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07628824"/>
              </p:ext>
            </p:extLst>
          </p:nvPr>
        </p:nvGraphicFramePr>
        <p:xfrm>
          <a:off x="4648200" y="1417638"/>
          <a:ext cx="43434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49127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4</TotalTime>
  <Words>209</Words>
  <Application>Microsoft Macintosh PowerPoint</Application>
  <PresentationFormat>On-screen Show (4:3)</PresentationFormat>
  <Paragraphs>93</Paragraphs>
  <Slides>1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Cambria</vt:lpstr>
      <vt:lpstr>Office Theme</vt:lpstr>
      <vt:lpstr>CARES 2018 Annual Report Summary: Michigan</vt:lpstr>
      <vt:lpstr>Location of Arrest</vt:lpstr>
      <vt:lpstr>Arrest Witnessed Status</vt:lpstr>
      <vt:lpstr>Who Initiated CPR?</vt:lpstr>
      <vt:lpstr>First Arrest Rhythm</vt:lpstr>
      <vt:lpstr>Was an AED Applied  (prior to EMS arrival)?</vt:lpstr>
      <vt:lpstr>Who First Applied AED?</vt:lpstr>
      <vt:lpstr>Sustained ROSC</vt:lpstr>
      <vt:lpstr>Field Hypothermia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Sinkfield, Tiara C.</cp:lastModifiedBy>
  <cp:revision>23</cp:revision>
  <dcterms:created xsi:type="dcterms:W3CDTF">2018-11-12T17:36:49Z</dcterms:created>
  <dcterms:modified xsi:type="dcterms:W3CDTF">2019-04-17T13:46:43Z</dcterms:modified>
</cp:coreProperties>
</file>